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5"/>
  </p:sldMasterIdLst>
  <p:notesMasterIdLst>
    <p:notesMasterId r:id="rId13"/>
  </p:notesMasterIdLst>
  <p:handoutMasterIdLst>
    <p:handoutMasterId r:id="rId14"/>
  </p:handoutMasterIdLst>
  <p:sldIdLst>
    <p:sldId id="263" r:id="rId6"/>
    <p:sldId id="266" r:id="rId7"/>
    <p:sldId id="267" r:id="rId8"/>
    <p:sldId id="268" r:id="rId9"/>
    <p:sldId id="269" r:id="rId10"/>
    <p:sldId id="270" r:id="rId11"/>
    <p:sldId id="271" r:id="rId12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0000"/>
    <a:srgbClr val="020000"/>
    <a:srgbClr val="01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5" autoAdjust="0"/>
    <p:restoredTop sz="94660"/>
  </p:normalViewPr>
  <p:slideViewPr>
    <p:cSldViewPr snapToGrid="0">
      <p:cViewPr varScale="1">
        <p:scale>
          <a:sx n="119" d="100"/>
          <a:sy n="119" d="100"/>
        </p:scale>
        <p:origin x="96" y="3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4/19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5.png"/><Relationship Id="rId4" Type="http://schemas.openxmlformats.org/officeDocument/2006/relationships/image" Target="../media/image6.svg"/><Relationship Id="rId9" Type="http://schemas.openxmlformats.org/officeDocument/2006/relationships/image" Target="../media/image11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13.svg"/><Relationship Id="rId4" Type="http://schemas.openxmlformats.org/officeDocument/2006/relationships/image" Target="../media/image8.png"/><Relationship Id="rId9" Type="http://schemas.openxmlformats.org/officeDocument/2006/relationships/image" Target="../media/image11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5" Type="http://schemas.openxmlformats.org/officeDocument/2006/relationships/image" Target="../media/image8.png"/><Relationship Id="rId10" Type="http://schemas.openxmlformats.org/officeDocument/2006/relationships/image" Target="../media/image11.svg"/><Relationship Id="rId4" Type="http://schemas.openxmlformats.org/officeDocument/2006/relationships/image" Target="../media/image6.svg"/><Relationship Id="rId9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13.svg"/><Relationship Id="rId4" Type="http://schemas.openxmlformats.org/officeDocument/2006/relationships/image" Target="../media/image8.png"/><Relationship Id="rId9" Type="http://schemas.openxmlformats.org/officeDocument/2006/relationships/image" Target="../media/image11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13.svg"/><Relationship Id="rId4" Type="http://schemas.openxmlformats.org/officeDocument/2006/relationships/image" Target="../media/image8.png"/><Relationship Id="rId9" Type="http://schemas.openxmlformats.org/officeDocument/2006/relationships/image" Target="../media/image11.sv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7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 smtClean="0"/>
              <a:t>Klikk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 smtClean="0"/>
              <a:t>Klikk for å redigere tittelstil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 smtClean="0"/>
              <a:t>Klikk ikonet for å legge til et bilde</a:t>
            </a:r>
            <a:endParaRPr lang="en-US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 smtClean="0"/>
              <a:t>Klikk for å redigere tittelstil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 smtClean="0"/>
              <a:t>Klikk for å redigere tittelsti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smtClean="0"/>
              <a:t>Klikk for å redigere undertittelstil i malen</a:t>
            </a:r>
            <a:endParaRPr lang="nb-NO" noProof="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nb-NO" noProof="0" smtClean="0"/>
              <a:t>Klikk for å redigere tittelstil</a:t>
            </a:r>
            <a:endParaRPr lang="nb-NO" noProof="0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 smtClean="0"/>
              <a:t>Klikk for å redigere tittelstil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smtClean="0"/>
              <a:t>Klikk for å redigere undertittelstil i malen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 smtClean="0"/>
              <a:t>Rediger tekststiler i malen</a:t>
            </a:r>
          </a:p>
          <a:p>
            <a:pPr lvl="1"/>
            <a:r>
              <a:rPr lang="nb-NO" noProof="0" smtClean="0"/>
              <a:t>Andre nivå</a:t>
            </a:r>
          </a:p>
          <a:p>
            <a:pPr lvl="2"/>
            <a:r>
              <a:rPr lang="nb-NO" noProof="0" smtClean="0"/>
              <a:t>Tredje nivå</a:t>
            </a:r>
          </a:p>
          <a:p>
            <a:pPr lvl="3"/>
            <a:r>
              <a:rPr lang="nb-NO" noProof="0" smtClean="0"/>
              <a:t>Fjerde nivå</a:t>
            </a:r>
          </a:p>
          <a:p>
            <a:pPr lvl="4"/>
            <a:r>
              <a:rPr lang="nb-NO" noProof="0" smtClean="0"/>
              <a:t>Femte nivå</a:t>
            </a:r>
            <a:endParaRPr lang="nb-NO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 smtClean="0"/>
              <a:t>Rediger tekststiler i malen</a:t>
            </a:r>
          </a:p>
          <a:p>
            <a:pPr lvl="1"/>
            <a:r>
              <a:rPr lang="nb-NO" noProof="0" smtClean="0"/>
              <a:t>Andre nivå</a:t>
            </a:r>
          </a:p>
          <a:p>
            <a:pPr lvl="2"/>
            <a:r>
              <a:rPr lang="nb-NO" noProof="0" smtClean="0"/>
              <a:t>Tredje nivå</a:t>
            </a:r>
          </a:p>
          <a:p>
            <a:pPr lvl="3"/>
            <a:r>
              <a:rPr lang="nb-NO" noProof="0" smtClean="0"/>
              <a:t>Fjerde nivå</a:t>
            </a:r>
          </a:p>
          <a:p>
            <a:pPr lvl="4"/>
            <a:r>
              <a:rPr lang="nb-NO" noProof="0" smtClean="0"/>
              <a:t>Femte nivå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 smtClean="0"/>
              <a:t>Rediger tekststiler i malen</a:t>
            </a:r>
          </a:p>
          <a:p>
            <a:pPr lvl="1"/>
            <a:r>
              <a:rPr lang="nb-NO" noProof="0" smtClean="0"/>
              <a:t>Andre nivå</a:t>
            </a:r>
          </a:p>
          <a:p>
            <a:pPr lvl="2"/>
            <a:r>
              <a:rPr lang="nb-NO" noProof="0" smtClean="0"/>
              <a:t>Tredje nivå</a:t>
            </a:r>
          </a:p>
          <a:p>
            <a:pPr lvl="3"/>
            <a:r>
              <a:rPr lang="nb-NO" noProof="0" smtClean="0"/>
              <a:t>Fjerde nivå</a:t>
            </a:r>
          </a:p>
          <a:p>
            <a:pPr lvl="4"/>
            <a:r>
              <a:rPr lang="nb-NO" noProof="0" smtClean="0"/>
              <a:t>Femte nivå</a:t>
            </a:r>
            <a:endParaRPr lang="nb-NO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 smtClean="0"/>
              <a:t>Klikk for å redigere tittelstil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smtClean="0"/>
              <a:t>Klikk for å redigere undertittelstil i malen</a:t>
            </a:r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 smtClean="0"/>
              <a:t>Klikk ikonet for å legge til et bild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 smtClean="0"/>
              <a:t>Klikk for å redigere tittelstil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smtClean="0"/>
              <a:t>Klikk for å redigere undertittelstil i malen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 smtClean="0"/>
              <a:t>Rediger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en-GB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15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 smtClean="0"/>
              <a:t>Klikk for å redigere tittelstil</a:t>
            </a:r>
            <a:endParaRPr lang="nb-NO" noProof="0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 smtClean="0"/>
              <a:t>Klikk for å redigere tittelstil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 smtClean="0"/>
              <a:t>Rediger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en-US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 smtClean="0"/>
              <a:t>Rediger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en-US" dirty="0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 smtClean="0"/>
              <a:t>Rediger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en-US" dirty="0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 smtClean="0"/>
              <a:t>Klikk for å redigere tittelstil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 smtClean="0"/>
              <a:t>Rediger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 smtClean="0"/>
              <a:t>Rediger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 smtClean="0"/>
              <a:t>Rediger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en-GB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 smtClean="0"/>
              <a:t>Klikk ikonet for å legge til et bild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 smtClean="0"/>
              <a:t>Rediger tekststiler i malen</a:t>
            </a:r>
          </a:p>
          <a:p>
            <a:pPr lvl="1"/>
            <a:r>
              <a:rPr lang="nb-NO" noProof="0" smtClean="0"/>
              <a:t>Andre nivå</a:t>
            </a:r>
          </a:p>
          <a:p>
            <a:pPr lvl="2"/>
            <a:r>
              <a:rPr lang="nb-NO" noProof="0" smtClean="0"/>
              <a:t>Tredje nivå</a:t>
            </a:r>
          </a:p>
          <a:p>
            <a:pPr lvl="3"/>
            <a:r>
              <a:rPr lang="nb-NO" noProof="0" smtClean="0"/>
              <a:t>Fjerde nivå</a:t>
            </a:r>
          </a:p>
          <a:p>
            <a:pPr lvl="4"/>
            <a:r>
              <a:rPr lang="nb-NO" noProof="0" smtClean="0"/>
              <a:t>Femte nivå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 smtClean="0"/>
              <a:t>Klikk ikonet for å legge til et bild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 smtClean="0"/>
              <a:t>Rediger tekststiler i malen</a:t>
            </a:r>
          </a:p>
          <a:p>
            <a:pPr lvl="1"/>
            <a:r>
              <a:rPr lang="nb-NO" noProof="0" smtClean="0"/>
              <a:t>Andre nivå</a:t>
            </a:r>
          </a:p>
          <a:p>
            <a:pPr lvl="2"/>
            <a:r>
              <a:rPr lang="nb-NO" noProof="0" smtClean="0"/>
              <a:t>Tredje nivå</a:t>
            </a:r>
          </a:p>
          <a:p>
            <a:pPr lvl="3"/>
            <a:r>
              <a:rPr lang="nb-NO" noProof="0" smtClean="0"/>
              <a:t>Fjerde nivå</a:t>
            </a:r>
          </a:p>
          <a:p>
            <a:pPr lvl="4"/>
            <a:r>
              <a:rPr lang="nb-NO" noProof="0" smtClean="0"/>
              <a:t>Femte nivå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 smtClean="0"/>
              <a:t>Klikk ikonet for å legge til et bild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 smtClean="0"/>
              <a:t>Rediger tekststiler i malen</a:t>
            </a:r>
          </a:p>
          <a:p>
            <a:pPr lvl="1"/>
            <a:r>
              <a:rPr lang="nb-NO" noProof="0" smtClean="0"/>
              <a:t>Andre nivå</a:t>
            </a:r>
          </a:p>
          <a:p>
            <a:pPr lvl="2"/>
            <a:r>
              <a:rPr lang="nb-NO" noProof="0" smtClean="0"/>
              <a:t>Tredje nivå</a:t>
            </a:r>
          </a:p>
          <a:p>
            <a:pPr lvl="3"/>
            <a:r>
              <a:rPr lang="nb-NO" noProof="0" smtClean="0"/>
              <a:t>Fjerde nivå</a:t>
            </a:r>
          </a:p>
          <a:p>
            <a:pPr lvl="4"/>
            <a:r>
              <a:rPr lang="nb-NO" noProof="0" smtClean="0"/>
              <a:t>Femte nivå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 smtClean="0"/>
              <a:t>Klikk for å redigere tittelstil</a:t>
            </a:r>
            <a:endParaRPr lang="nb-NO" noProof="0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 smtClean="0"/>
              <a:t>Rediger tekststiler i malen</a:t>
            </a:r>
          </a:p>
          <a:p>
            <a:pPr lvl="1"/>
            <a:r>
              <a:rPr lang="nb-NO" noProof="0" smtClean="0"/>
              <a:t>Andre nivå</a:t>
            </a:r>
          </a:p>
          <a:p>
            <a:pPr lvl="2"/>
            <a:r>
              <a:rPr lang="nb-NO" noProof="0" smtClean="0"/>
              <a:t>Tredje nivå</a:t>
            </a:r>
          </a:p>
          <a:p>
            <a:pPr lvl="3"/>
            <a:r>
              <a:rPr lang="nb-NO" noProof="0" smtClean="0"/>
              <a:t>Fjerde nivå</a:t>
            </a:r>
          </a:p>
          <a:p>
            <a:pPr lvl="4"/>
            <a:r>
              <a:rPr lang="nb-NO" noProof="0" smtClean="0"/>
              <a:t>Femte nivå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 smtClean="0"/>
              <a:t>Rediger tekststiler i malen</a:t>
            </a:r>
          </a:p>
          <a:p>
            <a:pPr lvl="1"/>
            <a:r>
              <a:rPr lang="nb-NO" noProof="0" smtClean="0"/>
              <a:t>Andre nivå</a:t>
            </a:r>
          </a:p>
          <a:p>
            <a:pPr lvl="2"/>
            <a:r>
              <a:rPr lang="nb-NO" noProof="0" smtClean="0"/>
              <a:t>Tredje nivå</a:t>
            </a:r>
          </a:p>
          <a:p>
            <a:pPr lvl="3"/>
            <a:r>
              <a:rPr lang="nb-NO" noProof="0" smtClean="0"/>
              <a:t>Fjerde nivå</a:t>
            </a:r>
          </a:p>
          <a:p>
            <a:pPr lvl="4"/>
            <a:r>
              <a:rPr lang="nb-NO" noProof="0" smtClean="0"/>
              <a:t>Femte nivå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 smtClean="0"/>
              <a:t>Rediger tekststiler i malen</a:t>
            </a:r>
          </a:p>
          <a:p>
            <a:pPr lvl="1"/>
            <a:r>
              <a:rPr lang="nb-NO" noProof="0" smtClean="0"/>
              <a:t>Andre nivå</a:t>
            </a:r>
          </a:p>
          <a:p>
            <a:pPr lvl="2"/>
            <a:r>
              <a:rPr lang="nb-NO" noProof="0" smtClean="0"/>
              <a:t>Tredje nivå</a:t>
            </a:r>
          </a:p>
          <a:p>
            <a:pPr lvl="3"/>
            <a:r>
              <a:rPr lang="nb-NO" noProof="0" smtClean="0"/>
              <a:t>Fjerde nivå</a:t>
            </a:r>
          </a:p>
          <a:p>
            <a:pPr lvl="4"/>
            <a:r>
              <a:rPr lang="nb-NO" noProof="0" smtClean="0"/>
              <a:t>Femte nivå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 smtClean="0"/>
              <a:t>Rediger tekststiler i malen</a:t>
            </a:r>
          </a:p>
          <a:p>
            <a:pPr lvl="1"/>
            <a:r>
              <a:rPr lang="nb-NO" noProof="0" smtClean="0"/>
              <a:t>Andre nivå</a:t>
            </a:r>
          </a:p>
          <a:p>
            <a:pPr lvl="2"/>
            <a:r>
              <a:rPr lang="nb-NO" noProof="0" smtClean="0"/>
              <a:t>Tredje nivå</a:t>
            </a:r>
          </a:p>
          <a:p>
            <a:pPr lvl="3"/>
            <a:r>
              <a:rPr lang="nb-NO" noProof="0" smtClean="0"/>
              <a:t>Fjerde nivå</a:t>
            </a:r>
          </a:p>
          <a:p>
            <a:pPr lvl="4"/>
            <a:r>
              <a:rPr lang="nb-NO" noProof="0" smtClean="0"/>
              <a:t>Femte nivå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 smtClean="0"/>
              <a:t>Klikk for å redigere tittelstil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smtClean="0"/>
              <a:t>Klikk for å redigere undertittelstil i malen</a:t>
            </a:r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 smtClean="0"/>
              <a:t>Klikk ikonet for å legge til et bild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smtClean="0"/>
              <a:t>Klikk for å redigere undertittelstil i malen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 smtClean="0"/>
              <a:t>Rediger tekststiler i malen</a:t>
            </a:r>
          </a:p>
          <a:p>
            <a:pPr lvl="1"/>
            <a:r>
              <a:rPr lang="nb-NO" noProof="0" smtClean="0"/>
              <a:t>Andre nivå</a:t>
            </a:r>
          </a:p>
          <a:p>
            <a:pPr lvl="2"/>
            <a:r>
              <a:rPr lang="nb-NO" noProof="0" smtClean="0"/>
              <a:t>Tredje nivå</a:t>
            </a:r>
          </a:p>
          <a:p>
            <a:pPr lvl="3"/>
            <a:r>
              <a:rPr lang="nb-NO" noProof="0" smtClean="0"/>
              <a:t>Fjerde nivå</a:t>
            </a:r>
          </a:p>
          <a:p>
            <a:pPr lvl="4"/>
            <a:r>
              <a:rPr lang="nb-NO" noProof="0" smtClean="0"/>
              <a:t>Femte nivå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 smtClean="0"/>
              <a:t>Klikk ikonet for å legge til et bild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 smtClean="0"/>
              <a:t>Rediger tekststiler i malen</a:t>
            </a:r>
          </a:p>
          <a:p>
            <a:pPr lvl="1"/>
            <a:r>
              <a:rPr lang="nb-NO" noProof="0" smtClean="0"/>
              <a:t>Andre nivå</a:t>
            </a:r>
          </a:p>
          <a:p>
            <a:pPr lvl="2"/>
            <a:r>
              <a:rPr lang="nb-NO" noProof="0" smtClean="0"/>
              <a:t>Tredje nivå</a:t>
            </a:r>
          </a:p>
          <a:p>
            <a:pPr lvl="3"/>
            <a:r>
              <a:rPr lang="nb-NO" noProof="0" smtClean="0"/>
              <a:t>Fjerde nivå</a:t>
            </a:r>
          </a:p>
          <a:p>
            <a:pPr lvl="4"/>
            <a:r>
              <a:rPr lang="nb-NO" noProof="0" smtClean="0"/>
              <a:t>Femte nivå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 smtClean="0"/>
              <a:t>Klikk ikonet for å legge til et bild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 smtClean="0"/>
              <a:t>Rediger tekststiler i malen</a:t>
            </a:r>
          </a:p>
          <a:p>
            <a:pPr lvl="1"/>
            <a:r>
              <a:rPr lang="nb-NO" noProof="0" smtClean="0"/>
              <a:t>Andre nivå</a:t>
            </a:r>
          </a:p>
          <a:p>
            <a:pPr lvl="2"/>
            <a:r>
              <a:rPr lang="nb-NO" noProof="0" smtClean="0"/>
              <a:t>Tredje nivå</a:t>
            </a:r>
          </a:p>
          <a:p>
            <a:pPr lvl="3"/>
            <a:r>
              <a:rPr lang="nb-NO" noProof="0" smtClean="0"/>
              <a:t>Fjerde nivå</a:t>
            </a:r>
          </a:p>
          <a:p>
            <a:pPr lvl="4"/>
            <a:r>
              <a:rPr lang="nb-NO" noProof="0" smtClean="0"/>
              <a:t>Femte nivå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 smtClean="0"/>
              <a:t>Klikk ikonet for å legge til et bild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 smtClean="0"/>
              <a:t>Rediger tekststiler i malen</a:t>
            </a:r>
          </a:p>
          <a:p>
            <a:pPr lvl="1"/>
            <a:r>
              <a:rPr lang="nb-NO" noProof="0" smtClean="0"/>
              <a:t>Andre nivå</a:t>
            </a:r>
          </a:p>
          <a:p>
            <a:pPr lvl="2"/>
            <a:r>
              <a:rPr lang="nb-NO" noProof="0" smtClean="0"/>
              <a:t>Tredje nivå</a:t>
            </a:r>
          </a:p>
          <a:p>
            <a:pPr lvl="3"/>
            <a:r>
              <a:rPr lang="nb-NO" noProof="0" smtClean="0"/>
              <a:t>Fjerde nivå</a:t>
            </a:r>
          </a:p>
          <a:p>
            <a:pPr lvl="4"/>
            <a:r>
              <a:rPr lang="nb-NO" noProof="0" smtClean="0"/>
              <a:t>Femte nivå</a:t>
            </a:r>
            <a:endParaRPr lang="nb-NO" noProof="0" dirty="0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 smtClean="0"/>
              <a:t>Klikk for å redigere tittelstil</a:t>
            </a:r>
            <a:endParaRPr lang="nb-NO" noProof="0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smtClean="0"/>
              <a:t>Klikk ikonet for å legge til et bild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smtClean="0"/>
              <a:t>Klikk ikonet for å legge til et bild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 smtClean="0"/>
              <a:t>Klikk for å redigere tittelstil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smtClean="0"/>
              <a:t>Klikk for å redigere undertittelstil i malen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 smtClean="0"/>
              <a:t>Klikk ikonet for å legge til et bilde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 smtClean="0"/>
              <a:t>Klikk ikonet for å legge til et bilde</a:t>
            </a:r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 smtClean="0"/>
              <a:t>Klikk ikonet for å legge til et bilde</a:t>
            </a:r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 smtClean="0"/>
              <a:t>Klikk for å redigere tittelstil</a:t>
            </a:r>
            <a:endParaRPr lang="nb-NO" noProof="0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 smtClean="0"/>
              <a:t>Klikk ikonet for å legge til et bild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 smtClean="0"/>
              <a:t>Klikk for å redigere tittelstil</a:t>
            </a:r>
            <a:endParaRPr lang="nb-NO" noProof="0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B8534B2-2B3C-45E4-A5C6-20DB83FC5B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nb-NO" smtClean="0"/>
              <a:t>Klikk ikonet for å legge til et bilde</a:t>
            </a:r>
            <a:endParaRPr lang="en-US" dirty="0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 smtClean="0"/>
              <a:t>Klikk for å redigere tittelstil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 smtClean="0"/>
              <a:t>Klikk for å redigere tittelstil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 smtClean="0"/>
              <a:t>Klikk for å redigere tittelstil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84D768E-AC85-41DD-B1B7-0298BF3316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 smtClean="0"/>
              <a:t>Klikk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 smtClean="0"/>
              <a:t>Klikk ikonet for å legge til et bild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smtClean="0"/>
              <a:t>Klikk for å redigere tittelstil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 smtClean="0"/>
              <a:t>Klikk ikonet for å legge til et bilde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31" imgW="339" imgH="343" progId="TCLayout.ActiveDocument.1">
                  <p:embed/>
                </p:oleObj>
              </mc:Choice>
              <mc:Fallback>
                <p:oleObj name="think-cell Slide" r:id="rId31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 smtClean="0"/>
              <a:t>Klikk for å redigere tittelsti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 smtClean="0"/>
              <a:t>Rediger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96DAC541-7B7A-43D3-8B79-37D633B846F1}">
                <asvg:svgBlip xmlns=""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4918BBD-4AD3-4187-BA2B-81452CA156C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3DD3C5F-F23B-451A-8B04-B979FE39776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/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80D23B6-21C0-480E-A2D0-E42B5C9D3D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smtClean="0"/>
              <a:t>Det matematisk-naturvitenskapelige fakultet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D1A76D9-D766-4615-886E-F99D7D3D09D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err="1" smtClean="0"/>
              <a:t>Dialogmøte</a:t>
            </a:r>
            <a:r>
              <a:rPr lang="en-GB" dirty="0" smtClean="0"/>
              <a:t> om </a:t>
            </a:r>
            <a:r>
              <a:rPr lang="en-GB" dirty="0" err="1" smtClean="0"/>
              <a:t>studiekvalitet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B61E3DA-F973-4531-AB15-8355D4BAF11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 err="1" smtClean="0"/>
              <a:t>Institutt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8D479BBD-B7BE-4FDD-8A61-B74E4A0BA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xx.xx.202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88783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/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193669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Arbeid med utdanningskvalitet ved </a:t>
            </a:r>
            <a:r>
              <a:rPr lang="nb-NO" dirty="0" smtClean="0"/>
              <a:t>instituttet/programmene (35 min)</a:t>
            </a: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 smtClean="0"/>
              <a:t>Læringsmiljø (15 min)</a:t>
            </a: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 smtClean="0"/>
              <a:t>Ansattkultur </a:t>
            </a:r>
            <a:r>
              <a:rPr lang="nb-NO" dirty="0"/>
              <a:t>og </a:t>
            </a:r>
            <a:r>
              <a:rPr lang="nb-NO" dirty="0" smtClean="0"/>
              <a:t>erfaringsdeling (10 min)</a:t>
            </a: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 err="1" smtClean="0"/>
              <a:t>Ph.d</a:t>
            </a:r>
            <a:r>
              <a:rPr lang="nb-NO" dirty="0"/>
              <a:t>.-</a:t>
            </a:r>
            <a:r>
              <a:rPr lang="nb-NO" dirty="0" smtClean="0"/>
              <a:t>utdanningen (minimum 15 min)</a:t>
            </a: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 smtClean="0"/>
              <a:t>Eventuelt (15 min)</a:t>
            </a:r>
            <a:endParaRPr lang="nb-NO" dirty="0"/>
          </a:p>
          <a:p>
            <a:endParaRPr lang="nb-NO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b-NO" smtClean="0"/>
              <a:t>Det matematisk-naturvitenskapelige fakultet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ide </a:t>
            </a:r>
            <a:fld id="{5251F420-7306-4E7C-A79E-F31A38F7D39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Tit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Agenda 2022</a:t>
            </a:r>
            <a:endParaRPr lang="nb-NO" dirty="0"/>
          </a:p>
        </p:txBody>
      </p:sp>
      <p:sp>
        <p:nvSpPr>
          <p:cNvPr id="7" name="TekstSylinder 6"/>
          <p:cNvSpPr txBox="1"/>
          <p:nvPr/>
        </p:nvSpPr>
        <p:spPr>
          <a:xfrm>
            <a:off x="360044" y="4308137"/>
            <a:ext cx="1037463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600" dirty="0"/>
              <a:t>A</a:t>
            </a:r>
            <a:r>
              <a:rPr lang="nb-NO" sz="1600" dirty="0" smtClean="0"/>
              <a:t>lle punktene </a:t>
            </a:r>
            <a:r>
              <a:rPr lang="nb-NO" sz="1600" dirty="0"/>
              <a:t>i «malen» </a:t>
            </a:r>
            <a:r>
              <a:rPr lang="nb-NO" sz="1600" dirty="0" smtClean="0"/>
              <a:t>skal besvares </a:t>
            </a:r>
            <a:r>
              <a:rPr lang="nb-NO" sz="1600" dirty="0"/>
              <a:t>så langt det er mulig — dette er en del av vårt lovpålagte kvalitetssystem. I </a:t>
            </a:r>
            <a:r>
              <a:rPr lang="nb-NO" sz="1600" dirty="0" smtClean="0"/>
              <a:t>selve dialogmøtet </a:t>
            </a:r>
            <a:r>
              <a:rPr lang="nb-NO" sz="1600" dirty="0"/>
              <a:t>velger dere hva som skal vektlegges innenfor hvert punkt.</a:t>
            </a:r>
          </a:p>
          <a:p>
            <a:r>
              <a:rPr lang="nb-NO" sz="1600" dirty="0"/>
              <a:t>Etter </a:t>
            </a:r>
            <a:r>
              <a:rPr lang="nb-NO" sz="1600" dirty="0" smtClean="0"/>
              <a:t>dialogmøtet skal fakultetet ha en </a:t>
            </a:r>
            <a:r>
              <a:rPr lang="nb-NO" sz="1600" dirty="0"/>
              <a:t>kopi av presentasjonen, også som en del av </a:t>
            </a:r>
            <a:r>
              <a:rPr lang="nb-NO" sz="1600" dirty="0" smtClean="0"/>
              <a:t>våre studiekvalitetsrutiner.</a:t>
            </a:r>
            <a:endParaRPr lang="nb-NO" sz="1600" dirty="0"/>
          </a:p>
        </p:txBody>
      </p:sp>
    </p:spTree>
    <p:extLst>
      <p:ext uri="{BB962C8B-B14F-4D97-AF65-F5344CB8AC3E}">
        <p14:creationId xmlns:p14="http://schemas.microsoft.com/office/powerpoint/2010/main" val="41179869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dirty="0"/>
              <a:t>Statistikk: rekruttering, gjennomføring, frafall – inkludert: fyller dere studieplassene deres?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dirty="0"/>
              <a:t>Eksempler på hvordan dere fanger opp sviktende kvalitet, hvor (hvilke organer og arenaer) dette fanges opp, og hvordan dette følges opp videre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dirty="0"/>
              <a:t>Periodisk programevaluering: Hvordan følger dere opp bachelorevalueringene? Hvordan går det så langt med masterevalueringene (erfaringer)?</a:t>
            </a: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b-NO" smtClean="0"/>
              <a:t>Det matematisk-naturvitenskapelige fakultet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ide </a:t>
            </a:r>
            <a:fld id="{5251F420-7306-4E7C-A79E-F31A38F7D39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Tittel 4"/>
          <p:cNvSpPr>
            <a:spLocks noGrp="1"/>
          </p:cNvSpPr>
          <p:nvPr>
            <p:ph type="title"/>
          </p:nvPr>
        </p:nvSpPr>
        <p:spPr>
          <a:xfrm>
            <a:off x="360044" y="341573"/>
            <a:ext cx="11471910" cy="542658"/>
          </a:xfrm>
        </p:spPr>
        <p:txBody>
          <a:bodyPr/>
          <a:lstStyle/>
          <a:p>
            <a:r>
              <a:rPr lang="nb-NO" dirty="0"/>
              <a:t>Arbeid med utdanningskvalitet ved </a:t>
            </a:r>
            <a:r>
              <a:rPr lang="nb-NO" dirty="0" smtClean="0"/>
              <a:t>instituttet</a:t>
            </a:r>
            <a:r>
              <a:rPr lang="nb-NO" dirty="0"/>
              <a:t> </a:t>
            </a:r>
            <a:r>
              <a:rPr lang="nb-NO" dirty="0" smtClean="0"/>
              <a:t>(35 min)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540750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dirty="0"/>
              <a:t>Hvordan jobber dere med oppfølging og utvikling av læringsmiljøet?</a:t>
            </a:r>
          </a:p>
          <a:p>
            <a:pPr marL="560396" lvl="1" indent="0">
              <a:buNone/>
            </a:pPr>
            <a:endParaRPr lang="nb-NO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b-NO" smtClean="0"/>
              <a:t>Det matematisk-naturvitenskapelige fakultet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ide </a:t>
            </a:r>
            <a:fld id="{5251F420-7306-4E7C-A79E-F31A38F7D39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Tit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Læringsmiljø (15 min)</a:t>
            </a:r>
            <a:r>
              <a:rPr lang="nb-NO" dirty="0"/>
              <a:t/>
            </a:r>
            <a:br>
              <a:rPr lang="nb-NO" dirty="0"/>
            </a:b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710297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dirty="0"/>
              <a:t>Hvordan jobber dere med undervisnings- og utdanningsutvikling </a:t>
            </a:r>
            <a:br>
              <a:rPr lang="nb-NO" dirty="0"/>
            </a:br>
            <a:r>
              <a:rPr lang="nb-NO" dirty="0"/>
              <a:t>(nøkkelord: kollegialt fellesskap</a:t>
            </a:r>
            <a:r>
              <a:rPr lang="nb-NO" dirty="0" smtClean="0"/>
              <a:t>)</a:t>
            </a:r>
            <a:endParaRPr lang="nb-NO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b-NO" smtClean="0"/>
              <a:t>Det matematisk-naturvitenskapelige fakultet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ide </a:t>
            </a:r>
            <a:fld id="{5251F420-7306-4E7C-A79E-F31A38F7D39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Tittel 4"/>
          <p:cNvSpPr>
            <a:spLocks noGrp="1"/>
          </p:cNvSpPr>
          <p:nvPr>
            <p:ph type="title"/>
          </p:nvPr>
        </p:nvSpPr>
        <p:spPr>
          <a:xfrm>
            <a:off x="360044" y="341572"/>
            <a:ext cx="11471910" cy="542658"/>
          </a:xfrm>
        </p:spPr>
        <p:txBody>
          <a:bodyPr/>
          <a:lstStyle/>
          <a:p>
            <a:r>
              <a:rPr lang="nb-NO" dirty="0" smtClean="0"/>
              <a:t>Ansattkultur og erfaringsdeling</a:t>
            </a:r>
            <a:r>
              <a:rPr lang="nb-NO" dirty="0"/>
              <a:t> </a:t>
            </a:r>
            <a:r>
              <a:rPr lang="nb-NO" dirty="0" smtClean="0"/>
              <a:t>(10 min)</a:t>
            </a:r>
            <a:r>
              <a:rPr lang="nb-NO" dirty="0"/>
              <a:t/>
            </a:r>
            <a:br>
              <a:rPr lang="nb-NO" dirty="0"/>
            </a:b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821283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dirty="0"/>
              <a:t>Har dere faste rammer/rutiner på hvordan kandidater tas imot og følges opp – særlig </a:t>
            </a:r>
            <a:r>
              <a:rPr lang="nb-NO" dirty="0" smtClean="0"/>
              <a:t>de første </a:t>
            </a:r>
            <a:r>
              <a:rPr lang="nb-NO" dirty="0"/>
              <a:t>6 månedene?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dirty="0"/>
              <a:t>Får </a:t>
            </a:r>
            <a:r>
              <a:rPr lang="nb-NO" dirty="0" err="1"/>
              <a:t>ph.d</a:t>
            </a:r>
            <a:r>
              <a:rPr lang="nb-NO" dirty="0"/>
              <a:t>.-kandidater som er ansatt ved instituttet tilbud om medarbeidersamtaler? 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dirty="0"/>
              <a:t>Hvordan integreres eksterne </a:t>
            </a:r>
            <a:r>
              <a:rPr lang="nb-NO" dirty="0" err="1"/>
              <a:t>ph.d</a:t>
            </a:r>
            <a:r>
              <a:rPr lang="nb-NO" dirty="0"/>
              <a:t>.-kandidater faglig og sosialt ved instituttet?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dirty="0"/>
              <a:t>Andre tiltak som bidrar til økt gjennomføring</a:t>
            </a:r>
            <a:r>
              <a:rPr lang="nb-NO" dirty="0" smtClean="0"/>
              <a:t>? </a:t>
            </a:r>
            <a:r>
              <a:rPr lang="nb-NO" dirty="0" smtClean="0"/>
              <a:t>Når</a:t>
            </a:r>
            <a:r>
              <a:rPr lang="nb-NO" dirty="0" smtClean="0"/>
              <a:t> kandidat(er) slutter, hvilke rutiner har dere for å finne årsaken til at de ønsker å slutte/ikke lykkes med graden?</a:t>
            </a:r>
            <a:endParaRPr lang="nb-NO" dirty="0"/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dirty="0"/>
              <a:t>Lærdommer fra pandemien: er det tiltak som bør/skal videreføres?</a:t>
            </a: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b-NO" smtClean="0"/>
              <a:t>Det matematisk-naturvitenskapelige fakultet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ide </a:t>
            </a:r>
            <a:fld id="{5251F420-7306-4E7C-A79E-F31A38F7D39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Tit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Ph.d.-utdanningen (minimum 15 min)</a:t>
            </a:r>
            <a:r>
              <a:rPr lang="nb-NO" dirty="0"/>
              <a:t/>
            </a:r>
            <a:br>
              <a:rPr lang="nb-NO" dirty="0"/>
            </a:br>
            <a:r>
              <a:rPr lang="nb-NO" dirty="0"/>
              <a:t/>
            </a:r>
            <a:br>
              <a:rPr lang="nb-NO" dirty="0"/>
            </a:b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828741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 smtClean="0"/>
              <a:t>Gi oss gjerne beskjed i forkant av dialogmøtet, dersom dere har saker på eventuelt som dere ønsker å snakke om</a:t>
            </a:r>
            <a:endParaRPr lang="nb-NO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b-NO" dirty="0" smtClean="0"/>
              <a:t>Det matematisk-naturvitenskapelige fakultet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ide </a:t>
            </a:r>
            <a:fld id="{5251F420-7306-4E7C-A79E-F31A38F7D39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Tit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Eventuelt (15 min)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6828146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EF1AA1B9-BC1F-45E4-9908-70FA5603ED5D}" vid="{0B1EB24D-9A29-4936-B027-FCD997E1BD8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0108F0405CBB4CAF0A4935735FBDAF" ma:contentTypeVersion="2" ma:contentTypeDescription="Opprett et nytt dokument." ma:contentTypeScope="" ma:versionID="40820e0ad83be9a9961789050f7f0561">
  <xsd:schema xmlns:xsd="http://www.w3.org/2001/XMLSchema" xmlns:xs="http://www.w3.org/2001/XMLSchema" xmlns:p="http://schemas.microsoft.com/office/2006/metadata/properties" xmlns:ns2="e5e35b8c-bb2a-40e7-acd7-beed1d1f14b8" xmlns:ns3="45a9c032-1c21-4297-bc4a-1b0e359a6c15" targetNamespace="http://schemas.microsoft.com/office/2006/metadata/properties" ma:root="true" ma:fieldsID="0d622c3afd3d445bea522ad461dd9299" ns2:_="" ns3:_="">
    <xsd:import namespace="e5e35b8c-bb2a-40e7-acd7-beed1d1f14b8"/>
    <xsd:import namespace="45a9c032-1c21-4297-bc4a-1b0e359a6c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35b8c-bb2a-40e7-acd7-beed1d1f1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a9c032-1c21-4297-bc4a-1b0e359a6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5e35b8c-bb2a-40e7-acd7-beed1d1f14b8">JAJEJYK5CVUX-448798232-25</_dlc_DocId>
    <_dlc_DocIdUrl xmlns="e5e35b8c-bb2a-40e7-acd7-beed1d1f14b8">
      <Url>https://uio.sharepoint.com/sites/GrafiskUttrykk/_layouts/15/DocIdRedir.aspx?ID=JAJEJYK5CVUX-448798232-25</Url>
      <Description>JAJEJYK5CVUX-448798232-25</Description>
    </_dlc_DocIdUr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CFB7AC4D-E83B-47A4-9E06-B565C308E68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e35b8c-bb2a-40e7-acd7-beed1d1f14b8"/>
    <ds:schemaRef ds:uri="45a9c032-1c21-4297-bc4a-1b0e359a6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9B9CF10-6C6A-444C-B05E-E78C1785A52C}">
  <ds:schemaRefs>
    <ds:schemaRef ds:uri="45a9c032-1c21-4297-bc4a-1b0e359a6c15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e5e35b8c-bb2a-40e7-acd7-beed1d1f14b8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D002927B-03DE-4325-846A-85432DF8412B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61</TotalTime>
  <Words>357</Words>
  <Application>Microsoft Office PowerPoint</Application>
  <PresentationFormat>Widescreen</PresentationFormat>
  <Paragraphs>40</Paragraphs>
  <Slides>7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7</vt:i4>
      </vt:variant>
    </vt:vector>
  </HeadingPairs>
  <TitlesOfParts>
    <vt:vector size="13" baseType="lpstr">
      <vt:lpstr>Arial</vt:lpstr>
      <vt:lpstr>Arial, sans-serif</vt:lpstr>
      <vt:lpstr>Calibri</vt:lpstr>
      <vt:lpstr>Wingdings</vt:lpstr>
      <vt:lpstr>Office-tema</vt:lpstr>
      <vt:lpstr>think-cell Slide</vt:lpstr>
      <vt:lpstr>Dialogmøte om studiekvalitet</vt:lpstr>
      <vt:lpstr>Agenda 2022</vt:lpstr>
      <vt:lpstr>Arbeid med utdanningskvalitet ved instituttet (35 min)</vt:lpstr>
      <vt:lpstr>Læringsmiljø (15 min) </vt:lpstr>
      <vt:lpstr>Ansattkultur og erfaringsdeling (10 min) </vt:lpstr>
      <vt:lpstr>Ph.d.-utdanningen (minimum 15 min)  </vt:lpstr>
      <vt:lpstr>Eventuelt (15 min)</vt:lpstr>
    </vt:vector>
  </TitlesOfParts>
  <Company>Universitetet i Osl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logmøte om studiekvalitet</dc:title>
  <dc:creator>Ina Hodnebrug</dc:creator>
  <cp:lastModifiedBy>Ina Hodnebrug</cp:lastModifiedBy>
  <cp:revision>10</cp:revision>
  <dcterms:created xsi:type="dcterms:W3CDTF">2022-04-05T14:16:10Z</dcterms:created>
  <dcterms:modified xsi:type="dcterms:W3CDTF">2022-04-19T13:24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0108F0405CBB4CAF0A4935735FBDAF</vt:lpwstr>
  </property>
  <property fmtid="{D5CDD505-2E9C-101B-9397-08002B2CF9AE}" pid="3" name="_dlc_DocIdItemGuid">
    <vt:lpwstr>e1ba8df5-1c55-4d83-8486-5b6b738896d5</vt:lpwstr>
  </property>
</Properties>
</file>